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2147377398" r:id="rId6"/>
    <p:sldId id="2147377397" r:id="rId7"/>
    <p:sldId id="261" r:id="rId8"/>
    <p:sldId id="264" r:id="rId9"/>
    <p:sldId id="265" r:id="rId10"/>
    <p:sldId id="266" r:id="rId11"/>
    <p:sldId id="269" r:id="rId12"/>
    <p:sldId id="267" r:id="rId13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6"/>
    </p:embeddedFont>
    <p:embeddedFont>
      <p:font typeface="Orsted Sans" panose="00000500000000000000" pitchFamily="50" charset="0"/>
      <p:regular r:id="rId17"/>
      <p:bold r:id="rId18"/>
      <p:italic r:id="rId19"/>
      <p:boldItalic r:id="rId20"/>
    </p:embeddedFont>
    <p:embeddedFont>
      <p:font typeface="Orsted Sans Office" panose="00000500000000000000" pitchFamily="2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06B"/>
    <a:srgbClr val="DFB1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910" autoAdjust="0"/>
  </p:normalViewPr>
  <p:slideViewPr>
    <p:cSldViewPr snapToGrid="0" showGuides="1">
      <p:cViewPr>
        <p:scale>
          <a:sx n="67" d="100"/>
          <a:sy n="67" d="100"/>
        </p:scale>
        <p:origin x="812" y="35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9.fntdata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27" Type="http://schemas.openxmlformats.org/officeDocument/2006/relationships/viewProps" Target="viewProps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83660130718956E-2"/>
          <c:y val="3.5543403964456599E-2"/>
          <c:w val="0.91503267973856206"/>
          <c:h val="0.92891319207108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0.67200000000000004</c:v>
                </c:pt>
                <c:pt idx="1">
                  <c:v>17.764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C2-4284-A95D-42E10C317C6E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8.9280000000000008</c:v>
                </c:pt>
                <c:pt idx="1">
                  <c:v>0.93499999999999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C2-4284-A95D-42E10C317C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09670384"/>
        <c:axId val="1"/>
      </c:barChart>
      <c:catAx>
        <c:axId val="1509670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6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09670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379788101059496E-2"/>
          <c:y val="0.12067955477445812"/>
          <c:w val="0.91524042379788106"/>
          <c:h val="0.796133567662565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4CE-4074-8E70-995D7025A937}"/>
              </c:ext>
            </c:extLst>
          </c:dPt>
          <c:dLbls>
            <c:dLbl>
              <c:idx val="0"/>
              <c:layout>
                <c:manualLayout>
                  <c:x val="0"/>
                  <c:y val="-0.435852372583479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Orsted Sans"/>
                      <a:ea typeface="+mn-ea"/>
                      <a:cs typeface="Arial"/>
                      <a:sym typeface="Orsted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4CE-4074-8E70-995D7025A937}"/>
                </c:ext>
              </c:extLst>
            </c:dLbl>
            <c:dLbl>
              <c:idx val="1"/>
              <c:layout>
                <c:manualLayout>
                  <c:x val="0"/>
                  <c:y val="-7.32278851786760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Orsted Sans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4CE-4074-8E70-995D7025A9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24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CE-4074-8E70-995D7025A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4567279"/>
        <c:axId val="1"/>
      </c:barChart>
      <c:catAx>
        <c:axId val="1454567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545672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83660130718956E-2"/>
          <c:y val="3.5543403964456599E-2"/>
          <c:w val="0.91503267973856206"/>
          <c:h val="0.92891319207108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CC-435B-B652-AD6E3E23B2C7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0.8</c:v>
                </c:pt>
                <c:pt idx="1">
                  <c:v>1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CC-435B-B652-AD6E3E23B2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7834191"/>
        <c:axId val="1"/>
      </c:barChart>
      <c:catAx>
        <c:axId val="10278341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.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78341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83660130718956E-2"/>
          <c:y val="3.5543403964456599E-2"/>
          <c:w val="0.91503267973856206"/>
          <c:h val="0.92891319207108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E43-4FF9-9D09-AD74ED619E3A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6</c:v>
                </c:pt>
                <c:pt idx="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43-4FF9-9D09-AD74ED619E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7836591"/>
        <c:axId val="1"/>
      </c:barChart>
      <c:catAx>
        <c:axId val="1027836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78365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20 March 2025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20 March 2025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485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E8F2DDB0-1C53-40E6-9949-A6815ECF2C5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27.xml"/><Relationship Id="rId7" Type="http://schemas.openxmlformats.org/officeDocument/2006/relationships/image" Target="../media/image20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21" Type="http://schemas.openxmlformats.org/officeDocument/2006/relationships/tags" Target="../tags/tag48.xml"/><Relationship Id="rId34" Type="http://schemas.openxmlformats.org/officeDocument/2006/relationships/chart" Target="../charts/chart2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chart" Target="../charts/chart1.xml"/><Relationship Id="rId38" Type="http://schemas.openxmlformats.org/officeDocument/2006/relationships/chart" Target="../charts/chart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slideLayout" Target="../slideLayouts/slideLayout11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image" Target="../media/image22.emf"/><Relationship Id="rId37" Type="http://schemas.openxmlformats.org/officeDocument/2006/relationships/image" Target="../media/image23.wmf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oleObject" Target="../embeddings/oleObject3.bin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notesSlide" Target="../notesSlides/notesSlide1.xml"/><Relationship Id="rId35" Type="http://schemas.openxmlformats.org/officeDocument/2006/relationships/chart" Target="../charts/chart3.xml"/><Relationship Id="rId8" Type="http://schemas.openxmlformats.org/officeDocument/2006/relationships/tags" Target="../tags/tag35.xml"/><Relationship Id="rId3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7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D2FD534-3879-841C-4101-38396B40ED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D2FD534-3879-841C-4101-38396B40E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BF19F602-0549-D1CB-0AC1-12CFD09014D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93AFB1B-64C6-84B9-38EB-C09C72BFCB5E}"/>
              </a:ext>
            </a:extLst>
          </p:cNvPr>
          <p:cNvSpPr/>
          <p:nvPr/>
        </p:nvSpPr>
        <p:spPr>
          <a:xfrm>
            <a:off x="3549" y="-2366"/>
            <a:ext cx="9144000" cy="514350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996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3387" y="2122275"/>
            <a:ext cx="8277226" cy="1242000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IPM2025, Session 8: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The internal electricity market and grid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999" y="4098450"/>
            <a:ext cx="7128000" cy="550800"/>
          </a:xfrm>
        </p:spPr>
        <p:txBody>
          <a:bodyPr anchor="b"/>
          <a:lstStyle/>
          <a:p>
            <a:r>
              <a:rPr lang="en-GB" dirty="0">
                <a:solidFill>
                  <a:schemeClr val="bg1"/>
                </a:solidFill>
                <a:cs typeface="Arial"/>
              </a:rPr>
              <a:t>Øyvind Vessia – 21 March 2025 – yvess@orsted.com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C7D76F53-6510-1C97-30CA-E5112F06A4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8345852" y="4815556"/>
            <a:ext cx="364155" cy="9958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8BBBE78-14D1-76DD-04B4-9A38F35AE548}"/>
              </a:ext>
            </a:extLst>
          </p:cNvPr>
          <p:cNvSpPr txBox="1">
            <a:spLocks/>
          </p:cNvSpPr>
          <p:nvPr/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Orsted Sans Office" panose="00000500000000000000" pitchFamily="2" charset="0"/>
                <a:ea typeface="+mn-ea"/>
                <a:cs typeface="+mn-cs"/>
                <a:sym typeface="Orsted Sans Office" panose="00000500000000000000" pitchFamily="2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4C8C45C-947F-4981-8B3F-4F32E973C901}" type="slidenum">
              <a:rPr lang="en-GB" smtClean="0"/>
              <a:pPr>
                <a:defRPr/>
              </a:pPr>
              <a:t>1</a:t>
            </a:fld>
            <a:endParaRPr lang="en-GB">
              <a:solidFill>
                <a:srgbClr val="99A4AE"/>
              </a:solidFill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123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svg="http://schemas.microsoft.com/office/drawing/2016/SVG/main" xmlns:a14="http://schemas.microsoft.com/office/drawing/2010/main" xmlns:v="urn:schemas-microsoft-com:vml" xmlns:a16="http://schemas.microsoft.com/office/drawing/2014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B9404E-1CB8-432C-A55C-73820577CE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8" imgH="338" progId="TCLayout.ActiveDocument.1">
                  <p:embed/>
                </p:oleObj>
              </mc:Choice>
              <mc:Fallback>
                <p:oleObj name="think-cell Slide" r:id="rId31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B9404E-1CB8-432C-A55C-73820577C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36346A1-DFFC-47DE-AA2A-3DDED690A643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5051425" y="3830638"/>
            <a:ext cx="223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D7CAA74-EB26-4982-AA15-3D56075E13EE}" type="datetime'''0''''''''''.''''''''''8'''''''''''''''''''''''''''''''''''">
              <a:rPr lang="en-GB" altLang="en-US" sz="1000" smtClean="0">
                <a:effectLst/>
                <a:latin typeface="Orsted Sans" panose="00000500000000000000" pitchFamily="50" charset="0"/>
                <a:sym typeface="Orsted Sans" panose="00000500000000000000" pitchFamily="50" charset="0"/>
              </a:rPr>
              <a:pPr marL="0" lvl="1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GB" sz="1000" noProof="0">
              <a:latin typeface="Orsted Sans" panose="00000500000000000000" pitchFamily="50" charset="0"/>
              <a:sym typeface="Orsted Sans" panose="00000500000000000000" pitchFamily="50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43D816-5100-41AB-A9D5-0E1718D67A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342" y="10125"/>
            <a:ext cx="65" cy="138499"/>
          </a:xfrm>
          <a:prstGeom prst="rect">
            <a:avLst/>
          </a:prstGeom>
          <a:solidFill>
            <a:scrgbClr r="0" g="0" b="0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1000" b="1">
              <a:solidFill>
                <a:schemeClr val="accent1"/>
              </a:solidFill>
              <a:latin typeface="Orsted Sans" panose="00000500000000000000" pitchFamily="50" charset="0"/>
              <a:sym typeface="Orsted Sans" panose="00000500000000000000" pitchFamily="50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7CE27635-663B-4F9F-8EC8-D8F367B6D14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8449" y="4561200"/>
            <a:ext cx="7100147" cy="367409"/>
          </a:xfrm>
        </p:spPr>
        <p:txBody>
          <a:bodyPr/>
          <a:lstStyle/>
          <a:p>
            <a:r>
              <a:rPr lang="en-GB" sz="650" dirty="0">
                <a:solidFill>
                  <a:schemeClr val="accent6"/>
                </a:solidFill>
                <a:latin typeface="Orsted Sans Office"/>
                <a:cs typeface="Arial"/>
              </a:rPr>
              <a:t>Notes: 1. Including EBITDA from new partnerships    2. ‘Adjusted ROCE’ excludes impairments. </a:t>
            </a:r>
            <a:endParaRPr lang="en-GB" sz="650" dirty="0">
              <a:solidFill>
                <a:schemeClr val="accent6"/>
              </a:solidFill>
              <a:latin typeface="Orsted Sans Office" panose="00000500000000000000" pitchFamily="2" charset="0"/>
            </a:endParaRPr>
          </a:p>
          <a:p>
            <a:r>
              <a:rPr lang="en-GB" sz="650" dirty="0">
                <a:solidFill>
                  <a:schemeClr val="accent6"/>
                </a:solidFill>
                <a:latin typeface="Orsted Sans Office"/>
                <a:cs typeface="Arial"/>
              </a:rPr>
              <a:t>Source: </a:t>
            </a:r>
            <a:r>
              <a:rPr lang="en-US" sz="650" dirty="0">
                <a:solidFill>
                  <a:schemeClr val="accent6"/>
                </a:solidFill>
                <a:latin typeface="Orsted Sans Office"/>
                <a:cs typeface="Arial"/>
              </a:rPr>
              <a:t>Ørsted Annual Report 2024</a:t>
            </a:r>
            <a:endParaRPr lang="en-GB" sz="650">
              <a:solidFill>
                <a:schemeClr val="accent6"/>
              </a:solidFill>
              <a:latin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We have succeeded in profoundly transforming </a:t>
            </a:r>
            <a:r>
              <a:rPr lang="en-GB" err="1"/>
              <a:t>Ørsted</a:t>
            </a:r>
            <a:endParaRPr lang="en-GB">
              <a:latin typeface="+mn-lt"/>
            </a:endParaRPr>
          </a:p>
        </p:txBody>
      </p:sp>
      <p:sp>
        <p:nvSpPr>
          <p:cNvPr id="5" name="Content Placeholder 24"/>
          <p:cNvSpPr txBox="1">
            <a:spLocks/>
          </p:cNvSpPr>
          <p:nvPr/>
        </p:nvSpPr>
        <p:spPr>
          <a:xfrm>
            <a:off x="2608263" y="749756"/>
            <a:ext cx="1836738" cy="287338"/>
          </a:xfrm>
          <a:prstGeom prst="rect">
            <a:avLst/>
          </a:prstGeom>
        </p:spPr>
        <p:txBody>
          <a:bodyPr lIns="0" tIns="0" rIns="0" bIns="0" anchor="t"/>
          <a:lstStyle>
            <a:lvl1pPr marL="151521" indent="-151521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229987" indent="-77114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08454" indent="-78466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307101" indent="-77114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500">
                <a:solidFill>
                  <a:schemeClr val="accent1"/>
                </a:solidFill>
                <a:latin typeface="Orsted Sans" panose="00000500000000000000" pitchFamily="50" charset="0"/>
              </a:rPr>
              <a:t>Green transformation </a:t>
            </a:r>
          </a:p>
          <a:p>
            <a:pPr marL="0" lvl="0" indent="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tx2"/>
                </a:solidFill>
                <a:latin typeface="Orsted Sans" panose="00000500000000000000" pitchFamily="50" charset="0"/>
              </a:rPr>
              <a:t>EBITDA, </a:t>
            </a:r>
            <a:r>
              <a:rPr lang="en-GB" err="1">
                <a:solidFill>
                  <a:schemeClr val="tx2"/>
                </a:solidFill>
                <a:latin typeface="Orsted Sans" panose="00000500000000000000" pitchFamily="50" charset="0"/>
              </a:rPr>
              <a:t>DKKbn</a:t>
            </a:r>
            <a:r>
              <a:rPr lang="en-GB">
                <a:solidFill>
                  <a:schemeClr val="tx2"/>
                </a:solidFill>
                <a:latin typeface="Orsted Sans" panose="00000500000000000000" pitchFamily="50" charset="0"/>
              </a:rPr>
              <a:t>, %</a:t>
            </a:r>
          </a:p>
        </p:txBody>
      </p:sp>
      <p:sp>
        <p:nvSpPr>
          <p:cNvPr id="16" name="Content Placeholder 24"/>
          <p:cNvSpPr txBox="1">
            <a:spLocks/>
          </p:cNvSpPr>
          <p:nvPr/>
        </p:nvSpPr>
        <p:spPr>
          <a:xfrm>
            <a:off x="537349" y="749756"/>
            <a:ext cx="1757845" cy="28733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779252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08454" indent="-155580" algn="l" defTabSz="779252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07101" indent="-77114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</a:pPr>
            <a:r>
              <a:rPr lang="en-GB" sz="1500">
                <a:solidFill>
                  <a:schemeClr val="accent1"/>
                </a:solidFill>
                <a:latin typeface="Orsted Sans" panose="00000500000000000000" pitchFamily="50" charset="0"/>
              </a:rPr>
              <a:t>CO</a:t>
            </a:r>
            <a:r>
              <a:rPr lang="en-GB" sz="1500" baseline="-25000">
                <a:solidFill>
                  <a:schemeClr val="accent1"/>
                </a:solidFill>
                <a:latin typeface="Orsted Sans" panose="00000500000000000000" pitchFamily="50" charset="0"/>
              </a:rPr>
              <a:t>2 </a:t>
            </a:r>
            <a:r>
              <a:rPr lang="en-GB" sz="1500">
                <a:solidFill>
                  <a:schemeClr val="accent1"/>
                </a:solidFill>
                <a:latin typeface="Orsted Sans" panose="00000500000000000000" pitchFamily="50" charset="0"/>
              </a:rPr>
              <a:t>reduction</a:t>
            </a:r>
          </a:p>
          <a:p>
            <a:pPr lvl="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GB">
                <a:solidFill>
                  <a:schemeClr val="tx2"/>
                </a:solidFill>
                <a:latin typeface="Orsted Sans" panose="00000500000000000000" pitchFamily="50" charset="0"/>
              </a:rPr>
              <a:t>g CO</a:t>
            </a:r>
            <a:r>
              <a:rPr lang="en-GB" baseline="-25000">
                <a:solidFill>
                  <a:schemeClr val="tx2"/>
                </a:solidFill>
                <a:latin typeface="Orsted Sans" panose="00000500000000000000" pitchFamily="50" charset="0"/>
              </a:rPr>
              <a:t>2</a:t>
            </a:r>
            <a:r>
              <a:rPr lang="en-GB">
                <a:solidFill>
                  <a:schemeClr val="tx2"/>
                </a:solidFill>
                <a:latin typeface="Orsted Sans" panose="00000500000000000000" pitchFamily="50" charset="0"/>
              </a:rPr>
              <a:t>e/kWh (scope 1 &amp; 2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712CFF3-46BF-85F5-B202-F3DFF91AEF7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565400" y="1911350"/>
          <a:ext cx="1943100" cy="232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DCE9B03F-0086-4266-82DB-AC22F777318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982913" y="4040188"/>
            <a:ext cx="220663" cy="1444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F5CE0163-67F4-4A8A-A8F8-C272CFC550A6}" type="datetime'7''''''''''''''''''''''''''''''''''''''''%'''''''''''''''''">
              <a:rPr lang="en-GB" altLang="en-US" sz="1000" smtClean="0">
                <a:solidFill>
                  <a:schemeClr val="bg1"/>
                </a:solidFill>
                <a:effectLst/>
                <a:latin typeface="Orsted Sans" panose="00000500000000000000" pitchFamily="50" charset="0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GB" sz="1000" noProof="0">
              <a:solidFill>
                <a:schemeClr val="bg1"/>
              </a:solidFill>
              <a:latin typeface="Orsted Sans" panose="00000500000000000000" pitchFamily="50" charset="0"/>
              <a:sym typeface="Orsted Sans" panose="00000500000000000000" pitchFamily="50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70F57C9-F92F-4744-95C0-7C7FE68E0B4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27350" y="4227513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6142949-9A88-456D-BE50-2C8558A7B5AC}" type="datetime'2''''''''0''''0''''''''''7'''''''''''''''''''''''''">
              <a:rPr lang="en-GB" altLang="en-US" sz="1000" smtClean="0">
                <a:latin typeface="+mn-lt"/>
                <a:ea typeface="+mj-ea"/>
                <a:cs typeface="+mj-cs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GB" sz="1000" noProof="0">
              <a:latin typeface="+mn-lt"/>
              <a:ea typeface="+mj-ea"/>
              <a:cs typeface="+mj-cs"/>
              <a:sym typeface="Orsted Sans" panose="00000500000000000000" pitchFamily="50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E1754818-F713-4255-8A78-7F50C37E5BD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54450" y="3040062"/>
            <a:ext cx="2555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baseline="30000">
                <a:solidFill>
                  <a:schemeClr val="bg1"/>
                </a:solidFill>
                <a:latin typeface="Orsted Sans"/>
              </a:rPr>
              <a:t>99%</a:t>
            </a:r>
            <a:endParaRPr lang="en-GB" altLang="en-US" sz="1200" baseline="30000" noProof="0">
              <a:solidFill>
                <a:schemeClr val="bg1"/>
              </a:solidFill>
              <a:latin typeface="Orsted Sans" panose="00000500000000000000" pitchFamily="50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1D063A6B-AEF4-4385-A850-248B73388EB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16350" y="4227513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latin typeface="+mn-lt"/>
                <a:ea typeface="+mj-ea"/>
                <a:cs typeface="+mj-cs"/>
              </a:rPr>
              <a:t>2024</a:t>
            </a:r>
            <a:endParaRPr lang="en-GB" altLang="en-US" sz="1000" noProof="0">
              <a:latin typeface="+mn-lt"/>
              <a:ea typeface="+mj-ea"/>
              <a:cs typeface="+mj-cs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85AE6E02-9CEA-43FB-A667-8FDDE20236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86088" y="2873375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B3ABEC2F-4293-4E7D-BAFF-B75FD7E718D9}" type="datetime'''''''''''''9''.''6'''''''''''''''''''''">
              <a:rPr lang="en-GB" altLang="en-US" sz="1000" smtClean="0">
                <a:latin typeface="Orsted Sans" panose="00000500000000000000" pitchFamily="50" charset="0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</a:t>
            </a:fld>
            <a:endParaRPr lang="en-GB" sz="1000" noProof="0">
              <a:latin typeface="Orsted Sans" panose="00000500000000000000" pitchFamily="50" charset="0"/>
              <a:sym typeface="Orsted Sans" panose="00000500000000000000" pitchFamily="50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7ED84C2-147F-4847-AD1B-991E1B6A9F3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875089" y="1824038"/>
            <a:ext cx="2143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latin typeface="Orsted Sans"/>
              </a:rPr>
              <a:t>32</a:t>
            </a:r>
            <a:r>
              <a:rPr lang="en-GB" altLang="en-US" sz="1000" baseline="30000">
                <a:latin typeface="Orsted Sans"/>
              </a:rPr>
              <a:t>1</a:t>
            </a:r>
            <a:endParaRPr lang="en-GB" sz="1000" baseline="30000" noProof="0">
              <a:latin typeface="Orsted Sans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42DC7BB-1C32-3AD6-17FE-29788D9B8084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490538" y="1666875"/>
          <a:ext cx="1947862" cy="2709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7481D0B-4717-489E-A8F1-1A7A9286DE1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1017588" y="170180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175E8B-98DC-486C-918A-FC957AB98ED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1017588" y="1701800"/>
            <a:ext cx="8921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C444F27-CEBB-496C-929B-D460EE7CD6E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909763" y="1701799"/>
            <a:ext cx="0" cy="2039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9697E4E2-AAC3-487D-9A2A-96C9748E329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2488" y="4228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DA7E13A-E8E0-4891-85A4-A1B10AFEDD22}" type="datetime'''''''2''''''''''''0''''''''''''''''''''0''''''7'''''''''''">
              <a:rPr lang="en-GB" altLang="en-US" sz="1000" smtClean="0">
                <a:latin typeface="+mj-lt"/>
                <a:ea typeface="+mj-ea"/>
                <a:cs typeface="+mj-cs"/>
                <a:sym typeface="Orsted Sans" panose="00000500000000000000" pitchFamily="50" charset="0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GB" sz="1000" noProof="0">
              <a:latin typeface="+mj-lt"/>
              <a:ea typeface="+mj-ea"/>
              <a:cs typeface="+mj-cs"/>
              <a:sym typeface="Orsted Sans" panose="00000500000000000000" pitchFamily="50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2F3C358-694B-48BF-8A0B-109591150C7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44663" y="4228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latin typeface="+mn-lt"/>
                <a:ea typeface="+mj-ea"/>
                <a:cs typeface="+mj-cs"/>
              </a:rPr>
              <a:t>2024</a:t>
            </a:r>
            <a:endParaRPr lang="en-GB" altLang="en-US" sz="1000" noProof="0">
              <a:latin typeface="+mn-lt"/>
              <a:ea typeface="+mj-ea"/>
              <a:cs typeface="+mj-cs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AA81F5A-A750-4D4D-8459-458D1150105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54125" y="1600200"/>
            <a:ext cx="419100" cy="20478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lang="en-GB" sz="1300" kern="120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lang="en-GB" sz="1300" kern="1200" baseline="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latin typeface="Orsted Sans"/>
                <a:cs typeface="+mn-cs"/>
              </a:rPr>
              <a:t>96%</a:t>
            </a:r>
            <a:endParaRPr lang="en-GB" altLang="en-US" sz="1000" noProof="0">
              <a:latin typeface="Orsted Sans" panose="00000500000000000000" pitchFamily="50" charset="0"/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E6C831A-62F3-489F-86A1-32ACED57BC05}"/>
              </a:ext>
            </a:extLst>
          </p:cNvPr>
          <p:cNvCxnSpPr>
            <a:cxnSpLocks/>
          </p:cNvCxnSpPr>
          <p:nvPr/>
        </p:nvCxnSpPr>
        <p:spPr>
          <a:xfrm>
            <a:off x="6642000" y="921262"/>
            <a:ext cx="0" cy="3559466"/>
          </a:xfrm>
          <a:prstGeom prst="line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49ADC24-2DC3-4A1B-44BC-42EF481B2428}"/>
              </a:ext>
            </a:extLst>
          </p:cNvPr>
          <p:cNvGraphicFramePr/>
          <p:nvPr>
            <p:custDataLst>
              <p:tags r:id="rId18"/>
            </p:custDataLst>
          </p:nvPr>
        </p:nvGraphicFramePr>
        <p:xfrm>
          <a:off x="4635500" y="1911350"/>
          <a:ext cx="1943100" cy="232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04C8D7D-2AA1-4642-89E1-BC7EF68AB23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997450" y="4228900"/>
            <a:ext cx="330200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26B70A-ACEC-4820-811D-47DA0705578F}" type="datetime'2''''''''''0''''''''''''''''''''''''''0''''''''7'''''''''''">
              <a:rPr lang="en-GB" altLang="en-US" sz="1000" smtClean="0">
                <a:latin typeface="+mj-lt"/>
                <a:ea typeface="+mj-ea"/>
                <a:cs typeface="+mj-cs"/>
                <a:sym typeface="Orsted Sans" panose="00000500000000000000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GB" sz="1000" noProof="0">
              <a:latin typeface="+mj-lt"/>
              <a:ea typeface="+mj-ea"/>
              <a:cs typeface="+mj-cs"/>
              <a:sym typeface="Orsted Sans" panose="00000500000000000000" pitchFamily="50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C041CA9-942C-4AB9-B99C-5C96EE95DFC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886450" y="4228900"/>
            <a:ext cx="330200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000">
                <a:latin typeface="+mn-lt"/>
                <a:ea typeface="+mj-ea"/>
                <a:cs typeface="+mj-cs"/>
              </a:rPr>
              <a:t>2024</a:t>
            </a:r>
            <a:endParaRPr lang="en-GB" altLang="en-US" sz="1000" noProof="0">
              <a:latin typeface="+mn-lt"/>
              <a:ea typeface="+mj-ea"/>
              <a:cs typeface="+mj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BD3DAFF-6DE5-6332-CB17-E8950C9C01C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885365" y="1823619"/>
            <a:ext cx="332371" cy="144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16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baseline="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>
                <a:latin typeface="Orsted Sans"/>
                <a:cs typeface="+mn-cs"/>
              </a:rPr>
              <a:t>18.2</a:t>
            </a:r>
          </a:p>
        </p:txBody>
      </p:sp>
      <p:sp>
        <p:nvSpPr>
          <p:cNvPr id="65" name="Content Placeholder 24">
            <a:extLst>
              <a:ext uri="{FF2B5EF4-FFF2-40B4-BE49-F238E27FC236}">
                <a16:creationId xmlns:a16="http://schemas.microsoft.com/office/drawing/2014/main" id="{6609E036-A137-4FC2-8B38-2DA13005EFD1}"/>
              </a:ext>
            </a:extLst>
          </p:cNvPr>
          <p:cNvSpPr txBox="1">
            <a:spLocks/>
          </p:cNvSpPr>
          <p:nvPr/>
        </p:nvSpPr>
        <p:spPr>
          <a:xfrm>
            <a:off x="4678264" y="749756"/>
            <a:ext cx="1836736" cy="287338"/>
          </a:xfrm>
          <a:prstGeom prst="rect">
            <a:avLst/>
          </a:prstGeom>
        </p:spPr>
        <p:txBody>
          <a:bodyPr lIns="0" tIns="0" rIns="0" bIns="0" anchor="t"/>
          <a:lstStyle>
            <a:lvl1pPr marL="151521" indent="-151521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229987" indent="-77114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08454" indent="-78466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307101" indent="-77114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500">
                <a:solidFill>
                  <a:schemeClr val="accent1"/>
                </a:solidFill>
                <a:latin typeface="Orsted Sans" panose="00000500000000000000" pitchFamily="50" charset="0"/>
              </a:rPr>
              <a:t>Renewable capacity </a:t>
            </a:r>
            <a:endParaRPr lang="en-GB" sz="1500" baseline="30000">
              <a:solidFill>
                <a:schemeClr val="accent1"/>
              </a:solidFill>
              <a:latin typeface="Orsted Sans" panose="00000500000000000000" pitchFamily="50" charset="0"/>
            </a:endParaRPr>
          </a:p>
          <a:p>
            <a:pPr marL="0" lvl="0" indent="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tx2"/>
                </a:solidFill>
                <a:latin typeface="Orsted Sans" panose="00000500000000000000" pitchFamily="50" charset="0"/>
              </a:rPr>
              <a:t>Installed capacity, G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D6E683-BB98-4801-A85A-6C07F2E0C3A5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2643189" y="1476375"/>
            <a:ext cx="125413" cy="93663"/>
          </a:xfrm>
          <a:prstGeom prst="rect">
            <a:avLst/>
          </a:prstGeom>
          <a:solidFill>
            <a:schemeClr val="hlink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1E14810-FA15-46D6-9BD6-CE6BF5B38D9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19401" y="1476375"/>
            <a:ext cx="868363" cy="10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34AA7FD-42C6-45F5-A5F5-94900AEC7792}" type="datetime'S''har''e'''' ''''of'' r''''e''newa''''''''''b''l''''''''es'''">
              <a:rPr lang="en-GB" altLang="en-US" sz="700" b="0" smtClean="0">
                <a:latin typeface="+mn-lt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hare of renewables</a:t>
            </a:fld>
            <a:endParaRPr lang="en-GB" sz="700" b="0" noProof="0">
              <a:latin typeface="+mn-lt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98763EC-E433-4D1D-AFB1-38A5A73D65C0}"/>
              </a:ext>
            </a:extLst>
          </p:cNvPr>
          <p:cNvCxnSpPr>
            <a:cxnSpLocks/>
          </p:cNvCxnSpPr>
          <p:nvPr/>
        </p:nvCxnSpPr>
        <p:spPr>
          <a:xfrm>
            <a:off x="4572000" y="921262"/>
            <a:ext cx="0" cy="3559466"/>
          </a:xfrm>
          <a:prstGeom prst="line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C67EF37-7F8E-40F5-8F3D-5018FF2E5897}"/>
              </a:ext>
            </a:extLst>
          </p:cNvPr>
          <p:cNvCxnSpPr>
            <a:cxnSpLocks/>
          </p:cNvCxnSpPr>
          <p:nvPr/>
        </p:nvCxnSpPr>
        <p:spPr>
          <a:xfrm>
            <a:off x="2502000" y="921262"/>
            <a:ext cx="0" cy="3559466"/>
          </a:xfrm>
          <a:prstGeom prst="line">
            <a:avLst/>
          </a:prstGeom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ontent Placeholder 24">
            <a:extLst>
              <a:ext uri="{FF2B5EF4-FFF2-40B4-BE49-F238E27FC236}">
                <a16:creationId xmlns:a16="http://schemas.microsoft.com/office/drawing/2014/main" id="{E838D4E7-F9EA-45C6-9AB7-4538B1541F3F}"/>
              </a:ext>
            </a:extLst>
          </p:cNvPr>
          <p:cNvSpPr txBox="1">
            <a:spLocks/>
          </p:cNvSpPr>
          <p:nvPr/>
        </p:nvSpPr>
        <p:spPr>
          <a:xfrm>
            <a:off x="6769915" y="749756"/>
            <a:ext cx="1841979" cy="287338"/>
          </a:xfrm>
          <a:prstGeom prst="rect">
            <a:avLst/>
          </a:prstGeom>
        </p:spPr>
        <p:txBody>
          <a:bodyPr lIns="0" tIns="0" rIns="0" bIns="0" anchor="t"/>
          <a:lstStyle>
            <a:lvl1pPr marL="151521" indent="-151521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229987" indent="-77114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308454" indent="-78466" algn="l" defTabSz="779252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307101" indent="-77114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500" dirty="0">
                <a:solidFill>
                  <a:schemeClr val="accent1"/>
                </a:solidFill>
                <a:latin typeface="Orsted Sans"/>
                <a:cs typeface="Arial"/>
              </a:rPr>
              <a:t>Profitability </a:t>
            </a:r>
            <a:endParaRPr lang="en-GB" sz="1500" baseline="30000" dirty="0">
              <a:solidFill>
                <a:schemeClr val="accent1"/>
              </a:solidFill>
              <a:latin typeface="Orsted Sans"/>
              <a:cs typeface="Arial"/>
            </a:endParaRPr>
          </a:p>
          <a:p>
            <a:pPr marL="0" lvl="0" indent="0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>
                <a:solidFill>
                  <a:schemeClr val="tx2"/>
                </a:solidFill>
                <a:latin typeface="Orsted Sans"/>
                <a:cs typeface="Arial"/>
              </a:rPr>
              <a:t>Adjusted ROCE</a:t>
            </a:r>
            <a:r>
              <a:rPr lang="en-GB" baseline="30000" dirty="0">
                <a:solidFill>
                  <a:schemeClr val="tx2"/>
                </a:solidFill>
                <a:latin typeface="Orsted Sans"/>
                <a:cs typeface="Arial"/>
              </a:rPr>
              <a:t>2</a:t>
            </a:r>
            <a:r>
              <a:rPr lang="en-GB" dirty="0">
                <a:solidFill>
                  <a:schemeClr val="tx2"/>
                </a:solidFill>
                <a:latin typeface="Orsted Sans"/>
                <a:cs typeface="Arial"/>
              </a:rPr>
              <a:t>, %</a:t>
            </a:r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FACB9076-2EC6-4FF8-BAD0-5F4E0D80EB8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mpler" showAsIcon="1" r:id="rId36" imgW="914400" imgH="771480" progId="Ampler.ActiveDocument">
                  <p:embed/>
                </p:oleObj>
              </mc:Choice>
              <mc:Fallback>
                <p:oleObj name="Ampler" showAsIcon="1" r:id="rId36" imgW="914400" imgH="771480" progId="Ampler.ActiveDocument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FACB9076-2EC6-4FF8-BAD0-5F4E0D80E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0" cy="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63EDFA4-492F-576A-5374-227A5A094307}"/>
              </a:ext>
            </a:extLst>
          </p:cNvPr>
          <p:cNvGraphicFramePr/>
          <p:nvPr>
            <p:custDataLst>
              <p:tags r:id="rId24"/>
            </p:custDataLst>
          </p:nvPr>
        </p:nvGraphicFramePr>
        <p:xfrm>
          <a:off x="6688138" y="1911350"/>
          <a:ext cx="1943100" cy="232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B1CB608-D470-4C66-9459-80DC69A1D98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50088" y="4228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fld id="{64288B37-1A45-44BB-ACB2-6ABBE67D9AEC}" type="datetime'''''''''''''''''''''2''''0''''''''''''0''''7'''''''''''">
              <a:rPr lang="en-GB" altLang="en-US" sz="1000" smtClean="0">
                <a:latin typeface="+mn-lt"/>
                <a:ea typeface="+mj-ea"/>
                <a:cs typeface="+mj-cs"/>
              </a:rPr>
              <a:pPr lvl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2007</a:t>
            </a:fld>
            <a:endParaRPr kumimoji="0" lang="en-GB" sz="1000" strike="noStrike" kern="1200" spc="0" normalizeH="0" noProof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  <a:sym typeface="Orsted Sans" panose="00000500000000000000" pitchFamily="50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C56DCD1-F717-4975-A446-DF4CC443450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939088" y="4228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000">
                <a:latin typeface="+mn-lt"/>
                <a:ea typeface="+mj-ea"/>
                <a:cs typeface="+mj-cs"/>
              </a:rPr>
              <a:t>2024</a:t>
            </a:r>
            <a:endParaRPr lang="en-US">
              <a:ea typeface="+mj-ea"/>
              <a:cs typeface="+mj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396313C-6029-7A9C-528E-477AEC3886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104063" y="2978151"/>
            <a:ext cx="22383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16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baseline="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</a:pPr>
            <a:fld id="{CDFF5989-64D7-4261-ADCB-7D74BD24C935}" type="datetime'''''''''''''''''''''''6''''''''''.''''''''''''''''''0'''''''''">
              <a:rPr lang="en-GB" altLang="en-US" smtClean="0">
                <a:effectLst/>
                <a:latin typeface="Orsted Sans" panose="00000500000000000000" pitchFamily="50" charset="0"/>
                <a:cs typeface="+mn-cs"/>
                <a:sym typeface="Orsted Sans" panose="00000500000000000000" pitchFamily="50" charset="0"/>
              </a:rPr>
              <a:pPr marL="0" lvl="0" indent="0" algn="ctr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.0</a:t>
            </a:fld>
            <a:endParaRPr lang="en-GB" noProof="0">
              <a:latin typeface="Orsted Sans" panose="00000500000000000000" pitchFamily="50" charset="0"/>
              <a:cs typeface="+mn-cs"/>
              <a:sym typeface="Orsted Sans" panose="00000500000000000000" pitchFamily="50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F89384C-FAB6-C9C1-2696-2E2C34F0881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975600" y="1824039"/>
            <a:ext cx="2587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16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baseline="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>
                <a:latin typeface="Orsted Sans"/>
                <a:cs typeface="+mn-cs"/>
                <a:sym typeface="Orsted Sans" panose="00000500000000000000" pitchFamily="50" charset="0"/>
              </a:rPr>
              <a:t>10.1</a:t>
            </a:r>
            <a:endParaRPr lang="en-US"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909B09-393A-9209-1F06-663D93348CE3}"/>
              </a:ext>
            </a:extLst>
          </p:cNvPr>
          <p:cNvSpPr txBox="1">
            <a:spLocks/>
          </p:cNvSpPr>
          <p:nvPr/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E39C593-61B3-8C4F-FCDF-23EEEC77F3A8}"/>
              </a:ext>
            </a:extLst>
          </p:cNvPr>
          <p:cNvSpPr>
            <a:spLocks noGrp="1"/>
          </p:cNvSpPr>
          <p:nvPr/>
        </p:nvSpPr>
        <p:spPr bwMode="gray">
          <a:xfrm>
            <a:off x="1620171" y="3746166"/>
            <a:ext cx="565735" cy="2422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8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baseline="30000">
                <a:solidFill>
                  <a:schemeClr val="tx1"/>
                </a:solidFill>
                <a:latin typeface="Orsted Sans"/>
              </a:rPr>
              <a:t>16%</a:t>
            </a:r>
            <a:endParaRPr lang="en-GB" altLang="en-US" sz="1200" baseline="30000" noProof="0">
              <a:solidFill>
                <a:schemeClr val="tx1"/>
              </a:solidFill>
              <a:latin typeface="Orsted Sa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631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c="http://schemas.openxmlformats.org/drawingml/2006/chart" xmlns:a14="http://schemas.microsoft.com/office/drawing/2010/main" xmlns:v="urn:schemas-microsoft-com:vml" xmlns:a16="http://schemas.microsoft.com/office/drawing/2014/main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D979FF-1B6C-5C2B-6090-EC46D0FE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455" r="-1" b="1865"/>
          <a:stretch/>
        </p:blipFill>
        <p:spPr>
          <a:xfrm>
            <a:off x="1" y="1"/>
            <a:ext cx="9144899" cy="5146199"/>
          </a:xfrm>
          <a:prstGeom prst="rect">
            <a:avLst/>
          </a:prstGeom>
          <a:noFill/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D66C5D81-38E0-6859-EA6E-7D6A13CE3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9899" y="146051"/>
            <a:ext cx="5903425" cy="2052000"/>
          </a:xfrm>
        </p:spPr>
        <p:txBody>
          <a:bodyPr/>
          <a:lstStyle/>
          <a:p>
            <a:pPr algn="r"/>
            <a:r>
              <a:rPr lang="en-US" dirty="0"/>
              <a:t>Map from Elia </a:t>
            </a:r>
            <a:r>
              <a:rPr lang="en-US"/>
              <a:t>– “Going </a:t>
            </a:r>
            <a:r>
              <a:rPr lang="en-US" dirty="0"/>
              <a:t>with </a:t>
            </a:r>
            <a:r>
              <a:rPr lang="en-US"/>
              <a:t>the wind”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6AC1C9E-6082-EEB4-9BD3-475E8BDA46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44800" y="4814424"/>
            <a:ext cx="367200" cy="1008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0167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D979FF-1B6C-5C2B-6090-EC46D0FE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455" r="-1" b="1865"/>
          <a:stretch/>
        </p:blipFill>
        <p:spPr>
          <a:xfrm>
            <a:off x="1" y="1"/>
            <a:ext cx="9144899" cy="5146199"/>
          </a:xfrm>
          <a:prstGeom prst="rect">
            <a:avLst/>
          </a:prstGeom>
          <a:noFill/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6AC1C9E-6082-EEB4-9BD3-475E8BDA46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44800" y="4814424"/>
            <a:ext cx="367200" cy="100800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4ED4B558-5758-46CB-69A1-1EACA7FADA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l="38455" t="5981" r="124" b="1846"/>
          <a:stretch/>
        </p:blipFill>
        <p:spPr>
          <a:xfrm>
            <a:off x="3194383" y="159701"/>
            <a:ext cx="5752405" cy="2840674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0252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D979FF-1B6C-5C2B-6090-EC46D0FE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455" r="-1" b="1865"/>
          <a:stretch/>
        </p:blipFill>
        <p:spPr>
          <a:xfrm>
            <a:off x="1" y="1"/>
            <a:ext cx="9144899" cy="5146199"/>
          </a:xfrm>
          <a:prstGeom prst="rect">
            <a:avLst/>
          </a:prstGeom>
          <a:noFill/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6AC1C9E-6082-EEB4-9BD3-475E8BDA46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44800" y="4814424"/>
            <a:ext cx="367200" cy="1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B731BB-88BA-C0D8-4DF3-4A8E91165D66}"/>
              </a:ext>
            </a:extLst>
          </p:cNvPr>
          <p:cNvSpPr/>
          <p:nvPr/>
        </p:nvSpPr>
        <p:spPr>
          <a:xfrm>
            <a:off x="2571750" y="1714500"/>
            <a:ext cx="2305050" cy="28479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86181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D979FF-1B6C-5C2B-6090-EC46D0FE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455" r="-1" b="1865"/>
          <a:stretch/>
        </p:blipFill>
        <p:spPr>
          <a:xfrm>
            <a:off x="1" y="1"/>
            <a:ext cx="9144899" cy="5146199"/>
          </a:xfrm>
          <a:prstGeom prst="rect">
            <a:avLst/>
          </a:prstGeom>
          <a:noFill/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6AC1C9E-6082-EEB4-9BD3-475E8BDA46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44800" y="4814424"/>
            <a:ext cx="367200" cy="1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B731BB-88BA-C0D8-4DF3-4A8E91165D66}"/>
              </a:ext>
            </a:extLst>
          </p:cNvPr>
          <p:cNvSpPr/>
          <p:nvPr/>
        </p:nvSpPr>
        <p:spPr>
          <a:xfrm>
            <a:off x="2571750" y="1714500"/>
            <a:ext cx="2305050" cy="28479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6150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76CDA-0F5E-0930-5E6B-2BA3751D7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using ti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7A47B6-FC69-991C-FCC5-EA080D849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Germany earning 12.6 Bn € during auction of 7 GW sites during the summer of 2023</a:t>
            </a:r>
          </a:p>
          <a:p>
            <a:endParaRPr lang="en-US" sz="2000" dirty="0"/>
          </a:p>
          <a:p>
            <a:r>
              <a:rPr lang="en-US" sz="2000" dirty="0"/>
              <a:t>Zero bids in Denmark winter 2024/2025</a:t>
            </a:r>
          </a:p>
          <a:p>
            <a:endParaRPr lang="en-US" sz="2000" dirty="0"/>
          </a:p>
          <a:p>
            <a:r>
              <a:rPr lang="en-US" sz="2000" dirty="0"/>
              <a:t>What is the cost difference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90D1B-55D4-851B-ADBE-4F19E807540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809D79-C9A0-549B-A6A5-2489DD3DC96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3FDE2-626C-2DBE-F0F0-650FD29D5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4662" y="931164"/>
            <a:ext cx="3058532" cy="3696729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0747D88-2BEB-BF7C-7882-338B3EDBECB2}"/>
              </a:ext>
            </a:extLst>
          </p:cNvPr>
          <p:cNvSpPr/>
          <p:nvPr/>
        </p:nvSpPr>
        <p:spPr>
          <a:xfrm>
            <a:off x="7210425" y="1409700"/>
            <a:ext cx="233028" cy="375489"/>
          </a:xfrm>
          <a:custGeom>
            <a:avLst/>
            <a:gdLst>
              <a:gd name="connsiteX0" fmla="*/ 57150 w 257175"/>
              <a:gd name="connsiteY0" fmla="*/ 0 h 328612"/>
              <a:gd name="connsiteX1" fmla="*/ 128588 w 257175"/>
              <a:gd name="connsiteY1" fmla="*/ 26193 h 328612"/>
              <a:gd name="connsiteX2" fmla="*/ 147638 w 257175"/>
              <a:gd name="connsiteY2" fmla="*/ 7143 h 328612"/>
              <a:gd name="connsiteX3" fmla="*/ 161925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28588 w 257175"/>
              <a:gd name="connsiteY1" fmla="*/ 26193 h 328612"/>
              <a:gd name="connsiteX2" fmla="*/ 147638 w 257175"/>
              <a:gd name="connsiteY2" fmla="*/ 7143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47638 w 257175"/>
              <a:gd name="connsiteY2" fmla="*/ 7143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57163 w 257175"/>
              <a:gd name="connsiteY2" fmla="*/ 4635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57163 w 257175"/>
              <a:gd name="connsiteY2" fmla="*/ 4635 h 328612"/>
              <a:gd name="connsiteX3" fmla="*/ 171450 w 257175"/>
              <a:gd name="connsiteY3" fmla="*/ 23684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38113 w 257175"/>
              <a:gd name="connsiteY1" fmla="*/ 23684 h 328612"/>
              <a:gd name="connsiteX2" fmla="*/ 157163 w 257175"/>
              <a:gd name="connsiteY2" fmla="*/ 4635 h 328612"/>
              <a:gd name="connsiteX3" fmla="*/ 171450 w 257175"/>
              <a:gd name="connsiteY3" fmla="*/ 23684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382 h 328994"/>
              <a:gd name="connsiteX1" fmla="*/ 138113 w 257175"/>
              <a:gd name="connsiteY1" fmla="*/ 24066 h 328994"/>
              <a:gd name="connsiteX2" fmla="*/ 150019 w 257175"/>
              <a:gd name="connsiteY2" fmla="*/ 0 h 328994"/>
              <a:gd name="connsiteX3" fmla="*/ 171450 w 257175"/>
              <a:gd name="connsiteY3" fmla="*/ 24066 h 328994"/>
              <a:gd name="connsiteX4" fmla="*/ 242888 w 257175"/>
              <a:gd name="connsiteY4" fmla="*/ 24194 h 328994"/>
              <a:gd name="connsiteX5" fmla="*/ 235744 w 257175"/>
              <a:gd name="connsiteY5" fmla="*/ 231363 h 328994"/>
              <a:gd name="connsiteX6" fmla="*/ 257175 w 257175"/>
              <a:gd name="connsiteY6" fmla="*/ 288513 h 328994"/>
              <a:gd name="connsiteX7" fmla="*/ 219075 w 257175"/>
              <a:gd name="connsiteY7" fmla="*/ 317088 h 328994"/>
              <a:gd name="connsiteX8" fmla="*/ 119063 w 257175"/>
              <a:gd name="connsiteY8" fmla="*/ 328994 h 328994"/>
              <a:gd name="connsiteX9" fmla="*/ 0 w 257175"/>
              <a:gd name="connsiteY9" fmla="*/ 81344 h 328994"/>
              <a:gd name="connsiteX10" fmla="*/ 57150 w 257175"/>
              <a:gd name="connsiteY10" fmla="*/ 382 h 32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7175" h="328994">
                <a:moveTo>
                  <a:pt x="57150" y="382"/>
                </a:moveTo>
                <a:lnTo>
                  <a:pt x="138113" y="24066"/>
                </a:lnTo>
                <a:lnTo>
                  <a:pt x="150019" y="0"/>
                </a:lnTo>
                <a:lnTo>
                  <a:pt x="171450" y="24066"/>
                </a:lnTo>
                <a:lnTo>
                  <a:pt x="242888" y="24194"/>
                </a:lnTo>
                <a:lnTo>
                  <a:pt x="235744" y="231363"/>
                </a:lnTo>
                <a:lnTo>
                  <a:pt x="257175" y="288513"/>
                </a:lnTo>
                <a:lnTo>
                  <a:pt x="219075" y="317088"/>
                </a:lnTo>
                <a:lnTo>
                  <a:pt x="119063" y="328994"/>
                </a:lnTo>
                <a:lnTo>
                  <a:pt x="0" y="81344"/>
                </a:lnTo>
                <a:lnTo>
                  <a:pt x="57150" y="38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292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C012B70-5670-5334-5DAF-C53FD4EDB9EA}"/>
              </a:ext>
            </a:extLst>
          </p:cNvPr>
          <p:cNvSpPr/>
          <p:nvPr/>
        </p:nvSpPr>
        <p:spPr>
          <a:xfrm>
            <a:off x="6728625" y="2343150"/>
            <a:ext cx="266700" cy="2286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900" noProof="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C4B9374-7E41-DC1D-3E5C-38ECC8DB4D88}"/>
              </a:ext>
            </a:extLst>
          </p:cNvPr>
          <p:cNvSpPr/>
          <p:nvPr/>
        </p:nvSpPr>
        <p:spPr>
          <a:xfrm>
            <a:off x="7326939" y="3171825"/>
            <a:ext cx="70650" cy="571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3F09549-BF16-4482-5612-9014C0FC5E4F}"/>
              </a:ext>
            </a:extLst>
          </p:cNvPr>
          <p:cNvCxnSpPr>
            <a:cxnSpLocks/>
            <a:stCxn id="15" idx="1"/>
            <a:endCxn id="14" idx="5"/>
          </p:cNvCxnSpPr>
          <p:nvPr/>
        </p:nvCxnSpPr>
        <p:spPr>
          <a:xfrm flipH="1" flipV="1">
            <a:off x="6956268" y="2538272"/>
            <a:ext cx="381017" cy="64192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peech Bubble: Rectangle with Corners Rounded 23">
            <a:extLst>
              <a:ext uri="{FF2B5EF4-FFF2-40B4-BE49-F238E27FC236}">
                <a16:creationId xmlns:a16="http://schemas.microsoft.com/office/drawing/2014/main" id="{D672BD44-9CD2-10D3-598A-0663F3103384}"/>
              </a:ext>
            </a:extLst>
          </p:cNvPr>
          <p:cNvSpPr/>
          <p:nvPr/>
        </p:nvSpPr>
        <p:spPr>
          <a:xfrm>
            <a:off x="4762500" y="1200150"/>
            <a:ext cx="1543050" cy="847725"/>
          </a:xfrm>
          <a:prstGeom prst="wedgeRoundRectCallout">
            <a:avLst>
              <a:gd name="adj1" fmla="val 116822"/>
              <a:gd name="adj2" fmla="val -1544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US" sz="1300" dirty="0"/>
              <a:t>Zero</a:t>
            </a:r>
            <a:r>
              <a:rPr lang="en-US" sz="1300" noProof="0" dirty="0"/>
              <a:t> bids winter 2024</a:t>
            </a:r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652A2F56-0F2B-93F7-1A79-1092D61A84BD}"/>
              </a:ext>
            </a:extLst>
          </p:cNvPr>
          <p:cNvSpPr/>
          <p:nvPr/>
        </p:nvSpPr>
        <p:spPr>
          <a:xfrm>
            <a:off x="4733506" y="2155836"/>
            <a:ext cx="1543050" cy="847725"/>
          </a:xfrm>
          <a:prstGeom prst="wedgeRoundRectCallout">
            <a:avLst>
              <a:gd name="adj1" fmla="val 87192"/>
              <a:gd name="adj2" fmla="val -8286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US" sz="1300" dirty="0"/>
              <a:t>X Bn € paid in concession payments summer 2023</a:t>
            </a:r>
            <a:endParaRPr lang="en-US" sz="1300" noProof="0" dirty="0"/>
          </a:p>
        </p:txBody>
      </p:sp>
    </p:spTree>
    <p:extLst>
      <p:ext uri="{BB962C8B-B14F-4D97-AF65-F5344CB8AC3E}">
        <p14:creationId xmlns:p14="http://schemas.microsoft.com/office/powerpoint/2010/main" val="992160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>
            <a:extLst>
              <a:ext uri="{FF2B5EF4-FFF2-40B4-BE49-F238E27FC236}">
                <a16:creationId xmlns:a16="http://schemas.microsoft.com/office/drawing/2014/main" id="{332ED9B8-E57E-9C58-2A45-1057E6BC1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0% costs to be saved by moving the DE windfarm to DK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8BC030A0-CC32-3534-132F-919DAA6B6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Using the same grid connection – just longer cable, costs can be reduced by 29 – 33 % by moving to DK</a:t>
            </a:r>
          </a:p>
          <a:p>
            <a:endParaRPr lang="en-US" sz="1800" dirty="0"/>
          </a:p>
          <a:p>
            <a:r>
              <a:rPr lang="en-US" sz="1800" dirty="0"/>
              <a:t>In addition, revenues are increased by 10 - 30 % due to higher valu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27D46CA-AE78-B58D-F94C-BC7B829BDB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809D79-C9A0-549B-A6A5-2489DD3DC96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3FDE2-626C-2DBE-F0F0-650FD29D5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4662" y="931164"/>
            <a:ext cx="3058532" cy="3696729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0747D88-2BEB-BF7C-7882-338B3EDBECB2}"/>
              </a:ext>
            </a:extLst>
          </p:cNvPr>
          <p:cNvSpPr/>
          <p:nvPr/>
        </p:nvSpPr>
        <p:spPr>
          <a:xfrm>
            <a:off x="7210425" y="1409700"/>
            <a:ext cx="233028" cy="375489"/>
          </a:xfrm>
          <a:custGeom>
            <a:avLst/>
            <a:gdLst>
              <a:gd name="connsiteX0" fmla="*/ 57150 w 257175"/>
              <a:gd name="connsiteY0" fmla="*/ 0 h 328612"/>
              <a:gd name="connsiteX1" fmla="*/ 128588 w 257175"/>
              <a:gd name="connsiteY1" fmla="*/ 26193 h 328612"/>
              <a:gd name="connsiteX2" fmla="*/ 147638 w 257175"/>
              <a:gd name="connsiteY2" fmla="*/ 7143 h 328612"/>
              <a:gd name="connsiteX3" fmla="*/ 161925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28588 w 257175"/>
              <a:gd name="connsiteY1" fmla="*/ 26193 h 328612"/>
              <a:gd name="connsiteX2" fmla="*/ 147638 w 257175"/>
              <a:gd name="connsiteY2" fmla="*/ 7143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47638 w 257175"/>
              <a:gd name="connsiteY2" fmla="*/ 7143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57163 w 257175"/>
              <a:gd name="connsiteY2" fmla="*/ 4635 h 328612"/>
              <a:gd name="connsiteX3" fmla="*/ 173831 w 257175"/>
              <a:gd name="connsiteY3" fmla="*/ 26193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45257 w 257175"/>
              <a:gd name="connsiteY1" fmla="*/ 26193 h 328612"/>
              <a:gd name="connsiteX2" fmla="*/ 157163 w 257175"/>
              <a:gd name="connsiteY2" fmla="*/ 4635 h 328612"/>
              <a:gd name="connsiteX3" fmla="*/ 171450 w 257175"/>
              <a:gd name="connsiteY3" fmla="*/ 23684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0 h 328612"/>
              <a:gd name="connsiteX1" fmla="*/ 138113 w 257175"/>
              <a:gd name="connsiteY1" fmla="*/ 23684 h 328612"/>
              <a:gd name="connsiteX2" fmla="*/ 157163 w 257175"/>
              <a:gd name="connsiteY2" fmla="*/ 4635 h 328612"/>
              <a:gd name="connsiteX3" fmla="*/ 171450 w 257175"/>
              <a:gd name="connsiteY3" fmla="*/ 23684 h 328612"/>
              <a:gd name="connsiteX4" fmla="*/ 242888 w 257175"/>
              <a:gd name="connsiteY4" fmla="*/ 23812 h 328612"/>
              <a:gd name="connsiteX5" fmla="*/ 235744 w 257175"/>
              <a:gd name="connsiteY5" fmla="*/ 230981 h 328612"/>
              <a:gd name="connsiteX6" fmla="*/ 257175 w 257175"/>
              <a:gd name="connsiteY6" fmla="*/ 288131 h 328612"/>
              <a:gd name="connsiteX7" fmla="*/ 219075 w 257175"/>
              <a:gd name="connsiteY7" fmla="*/ 316706 h 328612"/>
              <a:gd name="connsiteX8" fmla="*/ 119063 w 257175"/>
              <a:gd name="connsiteY8" fmla="*/ 328612 h 328612"/>
              <a:gd name="connsiteX9" fmla="*/ 0 w 257175"/>
              <a:gd name="connsiteY9" fmla="*/ 80962 h 328612"/>
              <a:gd name="connsiteX10" fmla="*/ 57150 w 257175"/>
              <a:gd name="connsiteY10" fmla="*/ 0 h 328612"/>
              <a:gd name="connsiteX0" fmla="*/ 57150 w 257175"/>
              <a:gd name="connsiteY0" fmla="*/ 382 h 328994"/>
              <a:gd name="connsiteX1" fmla="*/ 138113 w 257175"/>
              <a:gd name="connsiteY1" fmla="*/ 24066 h 328994"/>
              <a:gd name="connsiteX2" fmla="*/ 150019 w 257175"/>
              <a:gd name="connsiteY2" fmla="*/ 0 h 328994"/>
              <a:gd name="connsiteX3" fmla="*/ 171450 w 257175"/>
              <a:gd name="connsiteY3" fmla="*/ 24066 h 328994"/>
              <a:gd name="connsiteX4" fmla="*/ 242888 w 257175"/>
              <a:gd name="connsiteY4" fmla="*/ 24194 h 328994"/>
              <a:gd name="connsiteX5" fmla="*/ 235744 w 257175"/>
              <a:gd name="connsiteY5" fmla="*/ 231363 h 328994"/>
              <a:gd name="connsiteX6" fmla="*/ 257175 w 257175"/>
              <a:gd name="connsiteY6" fmla="*/ 288513 h 328994"/>
              <a:gd name="connsiteX7" fmla="*/ 219075 w 257175"/>
              <a:gd name="connsiteY7" fmla="*/ 317088 h 328994"/>
              <a:gd name="connsiteX8" fmla="*/ 119063 w 257175"/>
              <a:gd name="connsiteY8" fmla="*/ 328994 h 328994"/>
              <a:gd name="connsiteX9" fmla="*/ 0 w 257175"/>
              <a:gd name="connsiteY9" fmla="*/ 81344 h 328994"/>
              <a:gd name="connsiteX10" fmla="*/ 57150 w 257175"/>
              <a:gd name="connsiteY10" fmla="*/ 382 h 328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7175" h="328994">
                <a:moveTo>
                  <a:pt x="57150" y="382"/>
                </a:moveTo>
                <a:lnTo>
                  <a:pt x="138113" y="24066"/>
                </a:lnTo>
                <a:lnTo>
                  <a:pt x="150019" y="0"/>
                </a:lnTo>
                <a:lnTo>
                  <a:pt x="171450" y="24066"/>
                </a:lnTo>
                <a:lnTo>
                  <a:pt x="242888" y="24194"/>
                </a:lnTo>
                <a:lnTo>
                  <a:pt x="235744" y="231363"/>
                </a:lnTo>
                <a:lnTo>
                  <a:pt x="257175" y="288513"/>
                </a:lnTo>
                <a:lnTo>
                  <a:pt x="219075" y="317088"/>
                </a:lnTo>
                <a:lnTo>
                  <a:pt x="119063" y="328994"/>
                </a:lnTo>
                <a:lnTo>
                  <a:pt x="0" y="81344"/>
                </a:lnTo>
                <a:lnTo>
                  <a:pt x="57150" y="38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292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C012B70-5670-5334-5DAF-C53FD4EDB9EA}"/>
              </a:ext>
            </a:extLst>
          </p:cNvPr>
          <p:cNvSpPr/>
          <p:nvPr/>
        </p:nvSpPr>
        <p:spPr>
          <a:xfrm>
            <a:off x="6728625" y="2343150"/>
            <a:ext cx="266700" cy="2286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900" noProof="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C4B9374-7E41-DC1D-3E5C-38ECC8DB4D88}"/>
              </a:ext>
            </a:extLst>
          </p:cNvPr>
          <p:cNvSpPr/>
          <p:nvPr/>
        </p:nvSpPr>
        <p:spPr>
          <a:xfrm>
            <a:off x="7326939" y="3171825"/>
            <a:ext cx="70650" cy="5715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3F09549-BF16-4482-5612-9014C0FC5E4F}"/>
              </a:ext>
            </a:extLst>
          </p:cNvPr>
          <p:cNvCxnSpPr>
            <a:cxnSpLocks/>
            <a:stCxn id="15" idx="1"/>
            <a:endCxn id="14" idx="5"/>
          </p:cNvCxnSpPr>
          <p:nvPr/>
        </p:nvCxnSpPr>
        <p:spPr>
          <a:xfrm flipH="1" flipV="1">
            <a:off x="6956268" y="2538272"/>
            <a:ext cx="381017" cy="64192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56ECDB9-A85A-E7E0-049F-A1DF2EBF16B2}"/>
              </a:ext>
            </a:extLst>
          </p:cNvPr>
          <p:cNvCxnSpPr>
            <a:cxnSpLocks/>
            <a:stCxn id="15" idx="0"/>
            <a:endCxn id="13" idx="8"/>
          </p:cNvCxnSpPr>
          <p:nvPr/>
        </p:nvCxnSpPr>
        <p:spPr>
          <a:xfrm flipH="1" flipV="1">
            <a:off x="7318309" y="1785189"/>
            <a:ext cx="43955" cy="1386636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Speech Bubble: Rectangle with Corners Rounded 23">
            <a:extLst>
              <a:ext uri="{FF2B5EF4-FFF2-40B4-BE49-F238E27FC236}">
                <a16:creationId xmlns:a16="http://schemas.microsoft.com/office/drawing/2014/main" id="{D672BD44-9CD2-10D3-598A-0663F3103384}"/>
              </a:ext>
            </a:extLst>
          </p:cNvPr>
          <p:cNvSpPr/>
          <p:nvPr/>
        </p:nvSpPr>
        <p:spPr>
          <a:xfrm>
            <a:off x="4724400" y="1200150"/>
            <a:ext cx="1543050" cy="847725"/>
          </a:xfrm>
          <a:prstGeom prst="wedgeRoundRectCallout">
            <a:avLst>
              <a:gd name="adj1" fmla="val 116822"/>
              <a:gd name="adj2" fmla="val -1544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US" sz="1300" noProof="0" dirty="0"/>
              <a:t>29 - 33% cost reduction (LCOE)</a:t>
            </a:r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652A2F56-0F2B-93F7-1A79-1092D61A84BD}"/>
              </a:ext>
            </a:extLst>
          </p:cNvPr>
          <p:cNvSpPr/>
          <p:nvPr/>
        </p:nvSpPr>
        <p:spPr>
          <a:xfrm>
            <a:off x="4695406" y="2155836"/>
            <a:ext cx="1543050" cy="847725"/>
          </a:xfrm>
          <a:prstGeom prst="wedgeRoundRectCallout">
            <a:avLst>
              <a:gd name="adj1" fmla="val 87192"/>
              <a:gd name="adj2" fmla="val -8286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US" sz="1300" dirty="0"/>
              <a:t>Heavily waked, reducing full-load hours</a:t>
            </a:r>
            <a:endParaRPr lang="en-US" sz="1300" noProof="0" dirty="0"/>
          </a:p>
        </p:txBody>
      </p:sp>
    </p:spTree>
    <p:extLst>
      <p:ext uri="{BB962C8B-B14F-4D97-AF65-F5344CB8AC3E}">
        <p14:creationId xmlns:p14="http://schemas.microsoft.com/office/powerpoint/2010/main" val="758258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75633880603630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AKORA\AppData\Local\Temp\Templafy\PowerPointVsto\Assets\2c866425-c4a8-45b1-acf1-6433b58de2f7.jp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vJJADBmp8ZnJzDWFhH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dgNizdQauyvlun0t18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K_.eP9QDd5ib6lAaNy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yvhV6t37kG8324MaRI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arwC_URCWbcWwNxgL3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thvPuT7GK3s3gCgYAu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w4GAyxQDuS1BXjWF52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wAoquvDTRDIxUefBcd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_5gZDEaT0VfPseWH2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EJpbeN.qbQdzNKHA_7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9.Sm0J5BiYxIz1aMT1iQ"/>
  <p:tag name="TEMPLAFYSLIDEID" val="63875633880804325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H47K.EUJ7Mm5rXxUH.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ALOiHWXWIs4o03Sas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UhezGRnvIcM2M_ARor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EspWVKTuiUFheSFEFT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im_b9JVrHcXoWyKWsq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5hZfjQDvsF4xbg3VJc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KLv4AEdNAntKwKOAmE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wh_aBN14lmQ8tHdK5H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YjAX1EU7RjlZ8cgAxQ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bf3i35EfozAoV4LRPG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r061F3JWMAO0HKXFbq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SbW8GnW1kuI9sAhcjH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F8rK.u9DUQGCY1ZndM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ZDqmuoXTgW7JU8yoPu0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PXkiNfOoVtDospPaNR9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XseKx4uVbchGkK_w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D674062B-F116-4539-B93F-80A252139B4E}" vid="{501DEE4C-7CE8-4E01-83A2-CDD3443A5E4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5" ma:contentTypeDescription="Create a new document." ma:contentTypeScope="" ma:versionID="39e442cfa5e5558afc218e08600e22b0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f7b907b57351f06c171a175add3acdcc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5DD02BD-11BC-4909-AD26-9B1D9683245A}"/>
</file>

<file path=customXml/itemProps4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9</TotalTime>
  <Words>230</Words>
  <Application>Microsoft Office PowerPoint</Application>
  <PresentationFormat>On-screen Show (16:9)</PresentationFormat>
  <Paragraphs>51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Orsted Sans</vt:lpstr>
      <vt:lpstr>Arial Black</vt:lpstr>
      <vt:lpstr>Orsted Sans Office</vt:lpstr>
      <vt:lpstr>Arial</vt:lpstr>
      <vt:lpstr>Orsted</vt:lpstr>
      <vt:lpstr>think-cell Slide</vt:lpstr>
      <vt:lpstr>Ampler</vt:lpstr>
      <vt:lpstr>IPM2025, Session 8:  The internal electricity market and grids</vt:lpstr>
      <vt:lpstr>We have succeeded in profoundly transforming Ørsted</vt:lpstr>
      <vt:lpstr>Map from Elia – “Going with the wind”</vt:lpstr>
      <vt:lpstr>PowerPoint Presentation</vt:lpstr>
      <vt:lpstr>PowerPoint Presentation</vt:lpstr>
      <vt:lpstr>PowerPoint Presentation</vt:lpstr>
      <vt:lpstr>Confusing times</vt:lpstr>
      <vt:lpstr>30% costs to be saved by moving the DE windfarm to D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Øyvind Vessia</dc:creator>
  <cp:keywords/>
  <cp:lastModifiedBy>Øyvind Vessia</cp:lastModifiedBy>
  <cp:revision>1</cp:revision>
  <dcterms:created xsi:type="dcterms:W3CDTF">2025-03-20T13:34:21Z</dcterms:created>
  <dcterms:modified xsi:type="dcterms:W3CDTF">2025-03-20T18:33:2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10-04T12:47:59.7346127Z</vt:lpwstr>
  </property>
  <property fmtid="{D5CDD505-2E9C-101B-9397-08002B2CF9AE}" pid="3" name="ContentTypeId">
    <vt:lpwstr>0x01010063BA515A7BAE2A43BBCEEFC8DB246324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b8d9a29f-7d17-4193-85e4-1bef0fc2e901_Enabled">
    <vt:lpwstr>true</vt:lpwstr>
  </property>
  <property fmtid="{D5CDD505-2E9C-101B-9397-08002B2CF9AE}" pid="6" name="MSIP_Label_b8d9a29f-7d17-4193-85e4-1bef0fc2e901_SetDate">
    <vt:lpwstr>2023-01-26T05:00:08Z</vt:lpwstr>
  </property>
  <property fmtid="{D5CDD505-2E9C-101B-9397-08002B2CF9AE}" pid="7" name="MSIP_Label_b8d9a29f-7d17-4193-85e4-1bef0fc2e901_Method">
    <vt:lpwstr>Standard</vt:lpwstr>
  </property>
  <property fmtid="{D5CDD505-2E9C-101B-9397-08002B2CF9AE}" pid="8" name="MSIP_Label_b8d9a29f-7d17-4193-85e4-1bef0fc2e901_Name">
    <vt:lpwstr>b8d9a29f-7d17-4193-85e4-1bef0fc2e901</vt:lpwstr>
  </property>
  <property fmtid="{D5CDD505-2E9C-101B-9397-08002B2CF9AE}" pid="9" name="MSIP_Label_b8d9a29f-7d17-4193-85e4-1bef0fc2e901_SiteId">
    <vt:lpwstr>100b3c99-f3e2-4da0-9c8a-b9d345742c36</vt:lpwstr>
  </property>
  <property fmtid="{D5CDD505-2E9C-101B-9397-08002B2CF9AE}" pid="10" name="MSIP_Label_b8d9a29f-7d17-4193-85e4-1bef0fc2e901_ActionId">
    <vt:lpwstr>25fefe53-adc1-421d-86aa-12f2411af06e</vt:lpwstr>
  </property>
  <property fmtid="{D5CDD505-2E9C-101B-9397-08002B2CF9AE}" pid="11" name="MSIP_Label_b8d9a29f-7d17-4193-85e4-1bef0fc2e901_ContentBits">
    <vt:lpwstr>1</vt:lpwstr>
  </property>
</Properties>
</file>